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DD8CB-E801-FE13-68B3-A19DC7009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4653A87E-E1E4-7BE6-A33D-BE6979308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53A87E-E1E4-7BE6-A33D-BE6979308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B899C-1368-B5F4-78C9-00918EEEF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F2CFE-6669-9C06-74E1-B63F6837B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D51C7A-A10C-4026-EFE2-EC4C40561E16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798CE-5A68-7989-C9CC-D94A41AE93F3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EFA75-CA44-F7E5-888C-6184E42FAF04}"/>
              </a:ext>
            </a:extLst>
          </p:cNvPr>
          <p:cNvSpPr txBox="1">
            <a:spLocks/>
          </p:cNvSpPr>
          <p:nvPr/>
        </p:nvSpPr>
        <p:spPr>
          <a:xfrm>
            <a:off x="4547730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69B8F-6CEC-99A6-638A-67DFCECB2389}"/>
              </a:ext>
            </a:extLst>
          </p:cNvPr>
          <p:cNvSpPr txBox="1">
            <a:spLocks/>
          </p:cNvSpPr>
          <p:nvPr/>
        </p:nvSpPr>
        <p:spPr>
          <a:xfrm>
            <a:off x="4547730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91373-4157-8BB9-1853-E62DB2C1A4B8}"/>
              </a:ext>
            </a:extLst>
          </p:cNvPr>
          <p:cNvSpPr txBox="1">
            <a:spLocks/>
          </p:cNvSpPr>
          <p:nvPr/>
        </p:nvSpPr>
        <p:spPr>
          <a:xfrm>
            <a:off x="8676361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0CDC01-CBCF-8758-FDA5-729F0815D412}"/>
              </a:ext>
            </a:extLst>
          </p:cNvPr>
          <p:cNvSpPr txBox="1">
            <a:spLocks/>
          </p:cNvSpPr>
          <p:nvPr/>
        </p:nvSpPr>
        <p:spPr>
          <a:xfrm>
            <a:off x="8676361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883707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4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92</cp:revision>
  <dcterms:created xsi:type="dcterms:W3CDTF">2021-03-31T02:49:57Z</dcterms:created>
  <dcterms:modified xsi:type="dcterms:W3CDTF">2025-10-15T08:49:52Z</dcterms:modified>
  <cp:category/>
</cp:coreProperties>
</file>